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  <p:sldMasterId id="2147483695" r:id="rId2"/>
  </p:sldMasterIdLst>
  <p:notesMasterIdLst>
    <p:notesMasterId r:id="rId5"/>
  </p:notesMasterIdLst>
  <p:handoutMasterIdLst>
    <p:handoutMasterId r:id="rId6"/>
  </p:handoutMasterIdLst>
  <p:sldIdLst>
    <p:sldId id="256" r:id="rId3"/>
    <p:sldId id="258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abhu, Sushant" initials="SP" lastIdx="28" clrIdx="0">
    <p:extLst/>
  </p:cmAuthor>
  <p:cmAuthor id="2" name="Gill, Ashley" initials="AG" lastIdx="5" clrIdx="1">
    <p:extLst>
      <p:ext uri="{19B8F6BF-5375-455C-9EA6-DF929625EA0E}">
        <p15:presenceInfo xmlns:p15="http://schemas.microsoft.com/office/powerpoint/2012/main" userId="Gill, Ash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4066B2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72" autoAdjust="0"/>
    <p:restoredTop sz="95677" autoAdjust="0"/>
  </p:normalViewPr>
  <p:slideViewPr>
    <p:cSldViewPr snapToGrid="0">
      <p:cViewPr varScale="1">
        <p:scale>
          <a:sx n="71" d="100"/>
          <a:sy n="71" d="100"/>
        </p:scale>
        <p:origin x="125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notesViewPr>
    <p:cSldViewPr snapToGrid="0"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3F6185-77FF-436B-9426-F0BB1E45DCD8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02B08-1ACD-4BD4-89C5-FBF8530C1B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365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D868CD-D9D3-4810-B796-420ED53ACEAD}" type="datetimeFigureOut">
              <a:rPr lang="en-US" smtClean="0"/>
              <a:t>10/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D34E66-A0A5-4B9F-A2D7-5D116A8A2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774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867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(2/3 of p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834640" y="1611312"/>
            <a:ext cx="5943600" cy="4746625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45723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(1/3 of p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2"/>
            <a:ext cx="2103120" cy="4746625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78703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(1/3 of p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675120" y="1611312"/>
            <a:ext cx="2103120" cy="4746625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54928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48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125" y="1611313"/>
            <a:ext cx="5943600" cy="4746625"/>
          </a:xfrm>
        </p:spPr>
        <p:txBody>
          <a:bodyPr/>
          <a:lstStyle>
            <a:lvl1pPr>
              <a:spcBef>
                <a:spcPts val="3600"/>
              </a:spcBef>
              <a:defRPr sz="2000">
                <a:solidFill>
                  <a:schemeClr val="accent3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75755" y="588841"/>
            <a:ext cx="2103120" cy="1005840"/>
          </a:xfrm>
        </p:spPr>
        <p:txBody>
          <a:bodyPr/>
          <a:lstStyle>
            <a:lvl1pPr>
              <a:spcBef>
                <a:spcPts val="200"/>
              </a:spcBef>
              <a:defRPr sz="1000">
                <a:solidFill>
                  <a:schemeClr val="tx2"/>
                </a:solidFill>
              </a:defRPr>
            </a:lvl1pPr>
            <a:lvl2pPr>
              <a:defRPr sz="105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5760" y="1611312"/>
            <a:ext cx="2103120" cy="4745736"/>
          </a:xfrm>
        </p:spPr>
        <p:txBody>
          <a:bodyPr/>
          <a:lstStyle>
            <a:lvl1pPr>
              <a:spcBef>
                <a:spcPts val="300"/>
              </a:spcBef>
              <a:defRPr sz="1050"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5" y="1611312"/>
            <a:ext cx="5943600" cy="4746625"/>
          </a:xfrm>
        </p:spPr>
        <p:txBody>
          <a:bodyPr/>
          <a:lstStyle>
            <a:lvl1pPr>
              <a:spcBef>
                <a:spcPts val="18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76923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125" y="1611313"/>
            <a:ext cx="5943600" cy="4746625"/>
          </a:xfrm>
        </p:spPr>
        <p:txBody>
          <a:bodyPr/>
          <a:lstStyle>
            <a:lvl1pPr>
              <a:spcBef>
                <a:spcPts val="3600"/>
              </a:spcBef>
              <a:defRPr sz="2000">
                <a:solidFill>
                  <a:schemeClr val="accent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85788" y="774700"/>
            <a:ext cx="7972425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marL="119063" indent="-119063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5" descr="LLP logo with big space cop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95" t="1778" b="59770"/>
          <a:stretch>
            <a:fillRect/>
          </a:stretch>
        </p:blipFill>
        <p:spPr bwMode="gray">
          <a:xfrm>
            <a:off x="895350" y="6026150"/>
            <a:ext cx="14446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gray">
          <a:xfrm>
            <a:off x="892175" y="4756150"/>
            <a:ext cx="1585913" cy="201613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Deloitte Consulting LLP</a:t>
            </a: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175" y="2581275"/>
            <a:ext cx="6581775" cy="549275"/>
          </a:xfrm>
        </p:spPr>
        <p:txBody>
          <a:bodyPr/>
          <a:lstStyle>
            <a:lvl1pPr>
              <a:lnSpc>
                <a:spcPts val="22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175" y="3402013"/>
            <a:ext cx="6583363" cy="439737"/>
          </a:xfrm>
          <a:ln/>
        </p:spPr>
        <p:txBody>
          <a:bodyPr/>
          <a:lstStyle>
            <a:lvl1pPr>
              <a:lnSpc>
                <a:spcPts val="1600"/>
              </a:lnSpc>
              <a:spcBef>
                <a:spcPct val="15000"/>
              </a:spcBef>
              <a:buClrTx/>
              <a:buNone/>
              <a:defRPr sz="1400" b="1"/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2825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ief Prefa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746504" y="2368296"/>
            <a:ext cx="5632704" cy="2487168"/>
          </a:xfrm>
        </p:spPr>
        <p:txBody>
          <a:bodyPr tIns="73152" bIns="73152"/>
          <a:lstStyle>
            <a:lvl1pPr eaLnBrk="1" hangingPunct="1">
              <a:spcBef>
                <a:spcPct val="8000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/>
            </a:lvl1pPr>
            <a:lvl5pPr>
              <a:buNone/>
              <a:defRPr/>
            </a:lvl5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6313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er Introductor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/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970073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5"/>
          <p:cNvSpPr>
            <a:spLocks noChangeShapeType="1"/>
          </p:cNvSpPr>
          <p:nvPr userDrawn="1"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514350"/>
            <a:ext cx="8345487" cy="2587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1346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 userDrawn="1"/>
        </p:nvSpPr>
        <p:spPr bwMode="gray">
          <a:xfrm>
            <a:off x="1741488" y="2365375"/>
            <a:ext cx="5634037" cy="24876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73152" rIns="0" bIns="73152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2478088" y="2136775"/>
            <a:ext cx="4167187" cy="22860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72000" tIns="0" rIns="72000" bIns="0" anchor="b" anchorCtr="1"/>
          <a:lstStyle/>
          <a:p>
            <a:pPr algn="ctr"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89504" y="3081528"/>
            <a:ext cx="3346704" cy="256032"/>
          </a:xfrm>
          <a:solidFill>
            <a:schemeClr val="bg1"/>
          </a:solidFill>
        </p:spPr>
        <p:txBody>
          <a:bodyPr lIns="73152" rIns="73152" anchor="ctr" anchorCtr="1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33427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/>
            </a:lvl2pPr>
            <a:lvl3pPr>
              <a:buNone/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407622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5041537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gray">
          <a:xfrm>
            <a:off x="392113" y="1154113"/>
            <a:ext cx="4014787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93192" y="1152144"/>
            <a:ext cx="8352346" cy="5138928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93192" y="256032"/>
            <a:ext cx="8348472" cy="521208"/>
          </a:xfrm>
          <a:solidFill>
            <a:srgbClr val="FFFFFF"/>
          </a:solidFill>
        </p:spPr>
        <p:txBody>
          <a:bodyPr anchor="b"/>
          <a:lstStyle>
            <a:lvl1pPr>
              <a:buNone/>
              <a:defRPr sz="1600" b="1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4513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125" y="1611313"/>
            <a:ext cx="5943600" cy="4746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675120" y="1611312"/>
            <a:ext cx="2103120" cy="4746625"/>
          </a:xfrm>
        </p:spPr>
        <p:txBody>
          <a:bodyPr/>
          <a:lstStyle>
            <a:lvl1pPr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76618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with paragraph, dash,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7365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24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255264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6126480" y="1399032"/>
            <a:ext cx="2606040" cy="489204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9218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057400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5037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-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3255264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6126480" y="1399032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55264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126480" y="4041839"/>
            <a:ext cx="2606040" cy="2249424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676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63551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440621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/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965192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965192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795528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795528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27"/>
          </p:nvPr>
        </p:nvSpPr>
        <p:spPr>
          <a:xfrm>
            <a:off x="4965192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4965192" y="453542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965192" y="561441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7672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# points - 5 poi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955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5138928" y="1289304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7955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138928" y="2368296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95528" y="3456432"/>
            <a:ext cx="3611880" cy="74980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428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utlined 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49631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59943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702552" y="1243584"/>
            <a:ext cx="2048256" cy="2103120"/>
          </a:xfrm>
          <a:solidFill>
            <a:srgbClr val="FFFFFF"/>
          </a:solidFill>
          <a:ln w="12700">
            <a:solidFill>
              <a:schemeClr val="accent1"/>
            </a:solidFill>
          </a:ln>
        </p:spPr>
        <p:txBody>
          <a:bodyPr lIns="73152" tIns="182880" rIns="73152" bIns="73152"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2930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vrons with text box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43230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4462272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4709160"/>
            <a:ext cx="400507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6501384" y="1828800"/>
            <a:ext cx="2039112" cy="159105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739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05072" cy="22585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847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3/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259836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6126480" y="4270248"/>
            <a:ext cx="2633472" cy="202996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4016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- 2/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4736592" y="4864608"/>
            <a:ext cx="4005072" cy="1088136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768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393192" y="1709928"/>
            <a:ext cx="3035808" cy="4434840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689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898648"/>
            <a:ext cx="4014216" cy="339242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4799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chelangelo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1152144"/>
            <a:ext cx="4014216" cy="51389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2197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3346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4119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3931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736592" y="2697480"/>
            <a:ext cx="4005072" cy="1024128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4447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788152" y="1399032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9"/>
          </p:nvPr>
        </p:nvSpPr>
        <p:spPr>
          <a:xfrm>
            <a:off x="3931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30"/>
          </p:nvPr>
        </p:nvSpPr>
        <p:spPr>
          <a:xfrm>
            <a:off x="4736592" y="5202936"/>
            <a:ext cx="4005072" cy="1024128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4447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788152" y="3904488"/>
            <a:ext cx="2944368" cy="432426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b="1" i="1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2315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umes -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1344168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6"/>
          </p:nvPr>
        </p:nvSpPr>
        <p:spPr>
          <a:xfrm>
            <a:off x="5669280" y="1097280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3"/>
          </p:nvPr>
        </p:nvSpPr>
        <p:spPr>
          <a:xfrm>
            <a:off x="1344168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34"/>
          </p:nvPr>
        </p:nvSpPr>
        <p:spPr>
          <a:xfrm>
            <a:off x="5678424" y="241401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37"/>
          </p:nvPr>
        </p:nvSpPr>
        <p:spPr>
          <a:xfrm>
            <a:off x="1344168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5788152" y="3739896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1344168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42"/>
          </p:nvPr>
        </p:nvSpPr>
        <p:spPr>
          <a:xfrm>
            <a:off x="5678424" y="5056632"/>
            <a:ext cx="2944368" cy="496033"/>
          </a:xfrm>
        </p:spPr>
        <p:txBody>
          <a:bodyPr lIns="54864" tIns="54864" rIns="54864" bIns="54864">
            <a:spAutoFit/>
          </a:bodyPr>
          <a:lstStyle>
            <a:lvl1pPr marL="0" indent="0">
              <a:lnSpc>
                <a:spcPct val="110000"/>
              </a:lnSpc>
              <a:spcBef>
                <a:spcPts val="132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9328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-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931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736592" y="1399032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1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4736592" y="4041648"/>
            <a:ext cx="4014216" cy="2203704"/>
          </a:xfrm>
        </p:spPr>
        <p:txBody>
          <a:bodyPr/>
          <a:lstStyle>
            <a:lvl1pPr marL="0" indent="0">
              <a:lnSpc>
                <a:spcPct val="106000"/>
              </a:lnSpc>
              <a:spcBef>
                <a:spcPts val="1056"/>
              </a:spcBef>
              <a:buNone/>
              <a:defRPr b="0"/>
            </a:lvl1pPr>
          </a:lstStyle>
          <a:p>
            <a:pPr lvl="0"/>
            <a:r>
              <a:rPr lang="en-US" dirty="0"/>
              <a:t>Click to edi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757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30632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7"/>
          <p:cNvSpPr txBox="1">
            <a:spLocks/>
          </p:cNvSpPr>
          <p:nvPr userDrawn="1"/>
        </p:nvSpPr>
        <p:spPr>
          <a:xfrm>
            <a:off x="792163" y="1177925"/>
            <a:ext cx="4005262" cy="1023938"/>
          </a:xfrm>
          <a:prstGeom prst="rect">
            <a:avLst/>
          </a:prstGeom>
        </p:spPr>
        <p:txBody>
          <a:bodyPr/>
          <a:lstStyle/>
          <a:p>
            <a:pPr marL="169863" lvl="1" indent="-168275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Font typeface="Wingdings 2" pitchFamily="18" charset="2"/>
              <a:buChar char="¡"/>
              <a:defRPr/>
            </a:pPr>
            <a:r>
              <a:rPr lang="en-US" sz="1100" dirty="0">
                <a:solidFill>
                  <a:srgbClr val="000000"/>
                </a:solidFill>
                <a:cs typeface="Arial" charset="0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0691293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jo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66544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577840" y="520293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0849345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jor Poin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66544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5577840" y="3858768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5009411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jor Point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66544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4"/>
          </p:nvPr>
        </p:nvSpPr>
        <p:spPr>
          <a:xfrm>
            <a:off x="5577840" y="2505456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011393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jor Poi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66544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5577840" y="1152144"/>
            <a:ext cx="3172968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</a:t>
            </a:r>
            <a:r>
              <a:rPr lang="en-US"/>
              <a:t>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6434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7503350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071652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jor Point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2045278" y="1144470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045278" y="2479494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045278" y="3814518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2048822" y="5158686"/>
            <a:ext cx="6684264" cy="108813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9393360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6293" y="1413054"/>
            <a:ext cx="8450660" cy="49743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6063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(2/3 of p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2"/>
            <a:ext cx="5943600" cy="4746625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5836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34" Type="http://schemas.openxmlformats.org/officeDocument/2006/relationships/slideLayout" Target="../slideLayouts/slideLayout55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slideLayout" Target="../slideLayouts/slideLayout54.xml"/><Relationship Id="rId38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slideLayout" Target="../slideLayouts/slideLayout53.xml"/><Relationship Id="rId37" Type="http://schemas.openxmlformats.org/officeDocument/2006/relationships/slideLayout" Target="../slideLayouts/slideLayout58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36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5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Relationship Id="rId35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sp>
        <p:nvSpPr>
          <p:cNvPr id="7" name="Footer"/>
          <p:cNvSpPr txBox="1"/>
          <p:nvPr/>
        </p:nvSpPr>
        <p:spPr bwMode="gray">
          <a:xfrm>
            <a:off x="323528" y="6669359"/>
            <a:ext cx="547260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8C8C8C"/>
                </a:solidFill>
              </a:rPr>
              <a:t>AMIG Claim Center Fraud Analysis and Authorization Review                       Page:</a:t>
            </a:r>
            <a:fld id="{3E7DF071-C330-410D-A6DB-1DB069D444C3}" type="slidenum">
              <a:rPr lang="en-US" sz="800" smtClean="0">
                <a:solidFill>
                  <a:srgbClr val="8C8C8C"/>
                </a:solidFill>
              </a:rPr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421785" y="6669360"/>
            <a:ext cx="4343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8C8C8C"/>
                </a:solidFill>
              </a:rPr>
              <a:t>Copyright © 2018 Deloitte Development LLC. All rights reserved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114800" y="2971800"/>
            <a:ext cx="12824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27000" indent="-127000">
              <a:spcBef>
                <a:spcPts val="60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200" b="0" kern="1200">
          <a:solidFill>
            <a:schemeClr val="tx2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1pPr>
      <a:lvl2pPr marL="125413" indent="-125413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200" kern="1200" dirty="0" smtClean="0">
          <a:solidFill>
            <a:schemeClr val="tx2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277813" indent="-123825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200" kern="1200" dirty="0" smtClean="0">
          <a:solidFill>
            <a:schemeClr val="tx2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427038" indent="-123825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100" kern="1200" baseline="0" dirty="0" smtClean="0">
          <a:solidFill>
            <a:schemeClr val="tx2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582613" indent="-1270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100" kern="1200" baseline="0" dirty="0" smtClean="0">
          <a:solidFill>
            <a:schemeClr val="tx2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01638" y="514350"/>
            <a:ext cx="834548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96875" y="1154113"/>
            <a:ext cx="4014788" cy="5135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699738" name="SHP_DOCTRACKER"/>
          <p:cNvSpPr txBox="1">
            <a:spLocks noChangeArrowheads="1"/>
          </p:cNvSpPr>
          <p:nvPr/>
        </p:nvSpPr>
        <p:spPr bwMode="gray">
          <a:xfrm rot="-5400000">
            <a:off x="8861425" y="6543675"/>
            <a:ext cx="422275" cy="66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eaLnBrk="0" fontAlgn="base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">
                <a:solidFill>
                  <a:srgbClr val="AFAFAF"/>
                </a:solidFill>
                <a:cs typeface="Arial" charset="0"/>
              </a:rPr>
              <a:t>PredictiveModelScoringEngine.pptx</a:t>
            </a:r>
            <a:endParaRPr lang="en-US" sz="400" dirty="0">
              <a:solidFill>
                <a:srgbClr val="AFAFAF"/>
              </a:solidFill>
              <a:cs typeface="Arial" charset="0"/>
            </a:endParaRPr>
          </a:p>
        </p:txBody>
      </p:sp>
      <p:sp>
        <p:nvSpPr>
          <p:cNvPr id="3699747" name="Line 35"/>
          <p:cNvSpPr>
            <a:spLocks noChangeShapeType="1"/>
          </p:cNvSpPr>
          <p:nvPr/>
        </p:nvSpPr>
        <p:spPr bwMode="gray">
          <a:xfrm>
            <a:off x="392113" y="806450"/>
            <a:ext cx="83550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6000"/>
              </a:lnSpc>
              <a:spcBef>
                <a:spcPct val="50000"/>
              </a:spcBef>
              <a:spcAft>
                <a:spcPct val="0"/>
              </a:spcAft>
              <a:buSzPct val="100000"/>
              <a:buFont typeface="Wingdings 2" pitchFamily="18" charset="2"/>
              <a:buNone/>
              <a:defRPr/>
            </a:pPr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179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  <p:sldLayoutId id="2147483733" r:id="rId38"/>
  </p:sldLayoutIdLst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SzPct val="80000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169863" indent="-168275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100">
          <a:solidFill>
            <a:schemeClr val="tx1"/>
          </a:solidFill>
          <a:latin typeface="+mn-lt"/>
        </a:defRPr>
      </a:lvl2pPr>
      <a:lvl3pPr marL="344488" indent="-173038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000">
          <a:solidFill>
            <a:schemeClr val="tx1"/>
          </a:solidFill>
          <a:latin typeface="+mn-lt"/>
        </a:defRPr>
      </a:lvl3pPr>
      <a:lvl4pPr marL="517525" indent="-171450" algn="l" rtl="0" eaLnBrk="0" fontAlgn="base" hangingPunct="0">
        <a:lnSpc>
          <a:spcPct val="106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000">
          <a:solidFill>
            <a:schemeClr val="tx1"/>
          </a:solidFill>
          <a:latin typeface="+mn-lt"/>
        </a:defRPr>
      </a:lvl4pPr>
      <a:lvl5pPr marL="1446213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5pPr>
      <a:lvl6pPr marL="19034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6pPr>
      <a:lvl7pPr marL="23606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7pPr>
      <a:lvl8pPr marL="28178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8pPr>
      <a:lvl9pPr marL="3275013" indent="-2365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2439136"/>
            <a:ext cx="8347934" cy="842400"/>
          </a:xfrm>
        </p:spPr>
        <p:txBody>
          <a:bodyPr/>
          <a:lstStyle/>
          <a:p>
            <a:r>
              <a:rPr lang="en-US" sz="2400" dirty="0"/>
              <a:t>American Modern Insurance Group (AMIG)</a:t>
            </a:r>
            <a:br>
              <a:rPr lang="en-US" sz="2400" dirty="0"/>
            </a:br>
            <a:r>
              <a:rPr lang="en-US" sz="2400" b="1" dirty="0"/>
              <a:t>Claim Center Fraud Analysis and Authorization Review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3497560"/>
            <a:ext cx="7338588" cy="1371600"/>
          </a:xfrm>
        </p:spPr>
        <p:txBody>
          <a:bodyPr/>
          <a:lstStyle/>
          <a:p>
            <a:r>
              <a:rPr lang="en-US" sz="1800" b="1" dirty="0">
                <a:latin typeface="Helvetica" panose="020B0604020202020204" pitchFamily="34" charset="0"/>
                <a:cs typeface="Helvetica" panose="020B0604020202020204" pitchFamily="34" charset="0"/>
              </a:rPr>
              <a:t>Project Kick-off</a:t>
            </a:r>
          </a:p>
          <a:p>
            <a:endParaRPr lang="en-US" sz="18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1800" b="1" dirty="0"/>
              <a:t>Oct</a:t>
            </a:r>
            <a:r>
              <a:rPr lang="en-US" sz="1800" b="1" dirty="0">
                <a:latin typeface="Helvetica" panose="020B0604020202020204" pitchFamily="34" charset="0"/>
                <a:cs typeface="Helvetica" panose="020B0604020202020204" pitchFamily="34" charset="0"/>
              </a:rPr>
              <a:t> 11, 2018, 8.30 am – </a:t>
            </a:r>
            <a:r>
              <a:rPr lang="en-US" sz="1800" b="1" dirty="0"/>
              <a:t>5.00</a:t>
            </a:r>
            <a:r>
              <a:rPr lang="en-US" sz="1800" b="1" dirty="0">
                <a:latin typeface="Helvetica" panose="020B0604020202020204" pitchFamily="34" charset="0"/>
                <a:cs typeface="Helvetica" panose="020B0604020202020204" pitchFamily="34" charset="0"/>
              </a:rPr>
              <a:t> pm EST</a:t>
            </a:r>
          </a:p>
          <a:p>
            <a:r>
              <a:rPr lang="en-US" sz="1800" b="1" dirty="0">
                <a:latin typeface="Helvetica" panose="020B0604020202020204" pitchFamily="34" charset="0"/>
                <a:cs typeface="Helvetica" panose="020B0604020202020204" pitchFamily="34" charset="0"/>
              </a:rPr>
              <a:t>AMIG Office, Cincinnati, OH</a:t>
            </a:r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06382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Kick-off </a:t>
            </a:r>
            <a:r>
              <a:rPr lang="en-US" dirty="0"/>
              <a:t>Agenda</a:t>
            </a:r>
          </a:p>
          <a:p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Helvetica" panose="020B0604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r>
              <a:rPr lang="en-US" altLang="ja-JP" dirty="0"/>
              <a:t>AMIG Claim Center Fraud Analysis and Authorization Review</a:t>
            </a:r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578600"/>
              </p:ext>
            </p:extLst>
          </p:nvPr>
        </p:nvGraphicFramePr>
        <p:xfrm>
          <a:off x="402335" y="1096051"/>
          <a:ext cx="7924084" cy="5579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180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75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ime (EST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opi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8.30 am – 9.15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am 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Introduc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9.15 am - 10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a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Project Kick-off</a:t>
                      </a:r>
                    </a:p>
                    <a:p>
                      <a:pPr marL="6286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Project Introduction</a:t>
                      </a:r>
                    </a:p>
                    <a:p>
                      <a:pPr marL="6286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Expectation, Scope and Schedule</a:t>
                      </a:r>
                    </a:p>
                    <a:p>
                      <a:pPr marL="6286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Roles and Responsibilities</a:t>
                      </a:r>
                    </a:p>
                    <a:p>
                      <a:pPr marL="6286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Q&amp;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10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a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m - 10.15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a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Brea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0387044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10.15 am - 12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p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Fraud Scenarios Brainstorming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12.00 pm - 1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p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Lunc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1219160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1.00 pm - 2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p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Access Control Verifi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5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2.00 pm - 5.00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 pm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Claim Center Customization Dem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11619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Report_Proposal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defRPr sz="12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27000" indent="-127000">
          <a:spcBef>
            <a:spcPts val="600"/>
          </a:spcBef>
          <a:buSzPct val="100000"/>
          <a:buFont typeface="Arial"/>
          <a:buChar char="•"/>
          <a:defRPr sz="1200"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5D7BB12-C047-4D0A-8E3E-147E40A09D65}" vid="{6352B690-F158-4C1E-8715-7F8DFE027597}"/>
    </a:ext>
  </a:extLst>
</a:theme>
</file>

<file path=ppt/theme/theme2.xml><?xml version="1.0" encoding="utf-8"?>
<a:theme xmlns:a="http://schemas.openxmlformats.org/drawingml/2006/main" name="US Consulting Report Template_R1.5V_1208">
  <a:themeElements>
    <a:clrScheme name="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US Consulting Report Template_R1.5_0325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 w="12700" cap="rnd" algn="ctr">
          <a:noFill/>
          <a:miter lim="800000"/>
          <a:headEnd/>
          <a:tailEnd/>
        </a:ln>
      </a:spPr>
      <a:bodyPr lIns="182880" anchor="ctr" anchorCtr="1"/>
      <a:lstStyle>
        <a:defPPr algn="ctr" eaLnBrk="0" hangingPunct="0">
          <a:lnSpc>
            <a:spcPct val="106000"/>
          </a:lnSpc>
          <a:defRPr b="1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/>
      <a:bodyPr/>
      <a:lstStyle>
        <a:defPPr marL="169863" indent="-168275" algn="l" rtl="0" fontAlgn="base">
          <a:lnSpc>
            <a:spcPct val="106000"/>
          </a:lnSpc>
          <a:spcBef>
            <a:spcPct val="80000"/>
          </a:spcBef>
          <a:spcAft>
            <a:spcPct val="0"/>
          </a:spcAft>
          <a:buClr>
            <a:srgbClr val="000000"/>
          </a:buClr>
          <a:buFont typeface="Wingdings 2" pitchFamily="18" charset="2"/>
          <a:buChar char="¡"/>
          <a:defRPr sz="1100" kern="1200" dirty="0">
            <a:solidFill>
              <a:srgbClr val="000000"/>
            </a:solidFill>
            <a:latin typeface="Arial"/>
            <a:ea typeface="+mn-ea"/>
            <a:cs typeface="Arial" charset="0"/>
          </a:defRPr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US_Report_Proposal</Template>
  <TotalTime>21818</TotalTime>
  <Words>105</Words>
  <Application>Microsoft Office PowerPoint</Application>
  <PresentationFormat>On-screen Show (4:3)</PresentationFormat>
  <Paragraphs>28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ＭＳ Ｐゴシック</vt:lpstr>
      <vt:lpstr>Arial</vt:lpstr>
      <vt:lpstr>Calibri</vt:lpstr>
      <vt:lpstr>Helvetica</vt:lpstr>
      <vt:lpstr>Wingdings</vt:lpstr>
      <vt:lpstr>Wingdings 2</vt:lpstr>
      <vt:lpstr>Deloitte_US_Report_Proposal</vt:lpstr>
      <vt:lpstr>US Consulting Report Template_R1.5V_1208</vt:lpstr>
      <vt:lpstr>think-cell Slide</vt:lpstr>
      <vt:lpstr>American Modern Insurance Group (AMIG) Claim Center Fraud Analysis and Authorization Review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IC Claims Scoring Engine KT</dc:title>
  <dc:creator>Shroff, Rajni</dc:creator>
  <cp:lastModifiedBy>Shroff, Rajni (US - Boston)</cp:lastModifiedBy>
  <cp:revision>1035</cp:revision>
  <dcterms:created xsi:type="dcterms:W3CDTF">2015-06-15T15:22:58Z</dcterms:created>
  <dcterms:modified xsi:type="dcterms:W3CDTF">2018-10-01T16:11:16Z</dcterms:modified>
</cp:coreProperties>
</file>